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0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45.xml" ContentType="application/vnd.openxmlformats-officedocument.presentationml.tags+xml"/>
  <Override PartName="/ppt/notesSlides/notesSlide10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5" r:id="rId10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04.xml" Id="rId107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4.xml.rels>&#65279;<?xml version="1.0" encoding="utf-8"?><Relationships xmlns="http://schemas.openxmlformats.org/package/2006/relationships"><Relationship Type="http://schemas.openxmlformats.org/officeDocument/2006/relationships/slide" Target="/ppt/slides/slide104.xml" Id="rId2" /><Relationship Type="http://schemas.openxmlformats.org/officeDocument/2006/relationships/notesMaster" Target="/ppt/notesMasters/notesMaster1.xml" Id="rId1" /></Relationship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89440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4.xml.rels>&#65279;<?xml version="1.0" encoding="utf-8"?><Relationships xmlns="http://schemas.openxmlformats.org/package/2006/relationships"><Relationship Type="http://schemas.openxmlformats.org/officeDocument/2006/relationships/image" Target="/ppt/media/image122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21.png" Id="rId7" /><Relationship Type="http://schemas.openxmlformats.org/officeDocument/2006/relationships/tags" Target="/ppt/tags/tag345.xml" Id="rId2" /><Relationship Type="http://schemas.openxmlformats.org/officeDocument/2006/relationships/vmlDrawing" Target="/ppt/drawings/vmlDrawing108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08.bin" Id="rId5" /><Relationship Type="http://schemas.openxmlformats.org/officeDocument/2006/relationships/image" Target="/ppt/media/image124.svg" Id="rId10" /><Relationship Type="http://schemas.openxmlformats.org/officeDocument/2006/relationships/notesSlide" Target="/ppt/notesSlides/notesSlide104.xml" Id="rId4" /><Relationship Type="http://schemas.openxmlformats.org/officeDocument/2006/relationships/image" Target="/ppt/media/image123.png" Id="rId9" /></Relationships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212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Pros and cons I</a:t>
            </a:r>
            <a:endParaRPr lang="en-US"/>
          </a:p>
        </p:txBody>
      </p:sp>
      <p:grpSp>
        <p:nvGrpSpPr>
          <p:cNvPr id="2" name="Gruppieren 9">
            <a:extLst>
              <a:ext uri="{FF2B5EF4-FFF2-40B4-BE49-F238E27FC236}">
                <a16:creationId xmlns:a16="http://schemas.microsoft.com/office/drawing/2014/main" id="{A0539D71-0FC4-6489-B55B-82ED9E4EC6CF}"/>
              </a:ext>
            </a:extLst>
          </p:cNvPr>
          <p:cNvGrpSpPr>
            <a:grpSpLocks/>
          </p:cNvGrpSpPr>
          <p:nvPr/>
        </p:nvGrpSpPr>
        <p:grpSpPr bwMode="gray">
          <a:xfrm flipH="1" flipV="1">
            <a:off x="6992959" y="4434720"/>
            <a:ext cx="2893303" cy="349168"/>
            <a:chOff x="3357046" y="3184524"/>
            <a:chExt cx="2103341" cy="253834"/>
          </a:xfrm>
        </p:grpSpPr>
        <p:cxnSp>
          <p:nvCxnSpPr>
            <p:cNvPr id="3" name="Gerade Verbindung 38">
              <a:extLst>
                <a:ext uri="{FF2B5EF4-FFF2-40B4-BE49-F238E27FC236}">
                  <a16:creationId xmlns:a16="http://schemas.microsoft.com/office/drawing/2014/main" id="{07CF83C2-9E4F-7C1D-74C4-09DEAE3BCC11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3357046" y="3438358"/>
              <a:ext cx="2103341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118869C-76A9-DD61-F20E-AC77586F2980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3357046" y="3184524"/>
              <a:ext cx="751639" cy="1566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>
              <a:spAutoFit/>
            </a:bodyPr>
            <a:lstStyle/>
            <a:p>
              <a:pPr marL="0" marR="0" lvl="0" indent="0" algn="r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</a:t>
              </a:r>
            </a:p>
          </p:txBody>
        </p:sp>
      </p:grpSp>
      <p:grpSp>
        <p:nvGrpSpPr>
          <p:cNvPr id="6" name="Gruppieren 10">
            <a:extLst>
              <a:ext uri="{FF2B5EF4-FFF2-40B4-BE49-F238E27FC236}">
                <a16:creationId xmlns:a16="http://schemas.microsoft.com/office/drawing/2014/main" id="{7870EF60-906D-A2D1-9A19-333545F9408E}"/>
              </a:ext>
            </a:extLst>
          </p:cNvPr>
          <p:cNvGrpSpPr>
            <a:grpSpLocks/>
          </p:cNvGrpSpPr>
          <p:nvPr/>
        </p:nvGrpSpPr>
        <p:grpSpPr bwMode="gray">
          <a:xfrm flipH="1" flipV="1">
            <a:off x="7998301" y="2995578"/>
            <a:ext cx="2855971" cy="349165"/>
            <a:chOff x="2653333" y="4230738"/>
            <a:chExt cx="2076202" cy="253832"/>
          </a:xfrm>
        </p:grpSpPr>
        <p:cxnSp>
          <p:nvCxnSpPr>
            <p:cNvPr id="7" name="Gerade Verbindung 42">
              <a:extLst>
                <a:ext uri="{FF2B5EF4-FFF2-40B4-BE49-F238E27FC236}">
                  <a16:creationId xmlns:a16="http://schemas.microsoft.com/office/drawing/2014/main" id="{233503EE-DCF7-8105-1993-C5D70845C901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2653333" y="4484570"/>
              <a:ext cx="2076202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9" name="Rectangle 3">
              <a:extLst>
                <a:ext uri="{FF2B5EF4-FFF2-40B4-BE49-F238E27FC236}">
                  <a16:creationId xmlns:a16="http://schemas.microsoft.com/office/drawing/2014/main" id="{22CB0AF2-B251-5E32-D2A8-4E3E4C37A948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2653334" y="4230738"/>
              <a:ext cx="751639" cy="1566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>
              <a:spAutoFit/>
            </a:bodyPr>
            <a:lstStyle/>
            <a:p>
              <a:pPr marL="0" marR="0" lvl="0" indent="0" algn="r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</a:t>
              </a:r>
            </a:p>
          </p:txBody>
        </p:sp>
      </p:grpSp>
      <p:grpSp>
        <p:nvGrpSpPr>
          <p:cNvPr id="11" name="Gruppieren 11">
            <a:extLst>
              <a:ext uri="{FF2B5EF4-FFF2-40B4-BE49-F238E27FC236}">
                <a16:creationId xmlns:a16="http://schemas.microsoft.com/office/drawing/2014/main" id="{79658195-EE77-93CD-6233-0F93FD8B2A0C}"/>
              </a:ext>
            </a:extLst>
          </p:cNvPr>
          <p:cNvGrpSpPr>
            <a:grpSpLocks/>
          </p:cNvGrpSpPr>
          <p:nvPr/>
        </p:nvGrpSpPr>
        <p:grpSpPr bwMode="gray">
          <a:xfrm flipH="1" flipV="1">
            <a:off x="8757515" y="1569167"/>
            <a:ext cx="3051898" cy="349168"/>
            <a:chOff x="1958975" y="5271894"/>
            <a:chExt cx="2218635" cy="253834"/>
          </a:xfrm>
        </p:grpSpPr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0BD8138-7171-609F-63B6-07A6131BACAB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958975" y="5525728"/>
              <a:ext cx="2218635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5CDB38B3-F71C-3D9D-3F98-7D6341F14830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1958975" y="5271894"/>
              <a:ext cx="751639" cy="1566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>
              <a:spAutoFit/>
            </a:bodyPr>
            <a:lstStyle/>
            <a:p>
              <a:pPr marL="0" marR="0" lvl="0" indent="0" algn="r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</a:t>
              </a:r>
            </a:p>
          </p:txBody>
        </p:sp>
      </p:grpSp>
      <p:grpSp>
        <p:nvGrpSpPr>
          <p:cNvPr id="14" name="Gruppieren 19">
            <a:extLst>
              <a:ext uri="{FF2B5EF4-FFF2-40B4-BE49-F238E27FC236}">
                <a16:creationId xmlns:a16="http://schemas.microsoft.com/office/drawing/2014/main" id="{B7290288-70B2-C71B-7F5B-947C61B1CBAD}"/>
              </a:ext>
            </a:extLst>
          </p:cNvPr>
          <p:cNvGrpSpPr>
            <a:grpSpLocks/>
          </p:cNvGrpSpPr>
          <p:nvPr/>
        </p:nvGrpSpPr>
        <p:grpSpPr bwMode="gray">
          <a:xfrm>
            <a:off x="2342251" y="2291239"/>
            <a:ext cx="2893303" cy="368457"/>
            <a:chOff x="3357046" y="3170501"/>
            <a:chExt cx="2103341" cy="267857"/>
          </a:xfrm>
        </p:grpSpPr>
        <p:cxnSp>
          <p:nvCxnSpPr>
            <p:cNvPr id="15" name="Gerade Verbindung 38">
              <a:extLst>
                <a:ext uri="{FF2B5EF4-FFF2-40B4-BE49-F238E27FC236}">
                  <a16:creationId xmlns:a16="http://schemas.microsoft.com/office/drawing/2014/main" id="{673A5078-DEA8-6BE3-6774-550B464A3B06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3357046" y="3438358"/>
              <a:ext cx="2103341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" name="Rectangle 3">
              <a:extLst>
                <a:ext uri="{FF2B5EF4-FFF2-40B4-BE49-F238E27FC236}">
                  <a16:creationId xmlns:a16="http://schemas.microsoft.com/office/drawing/2014/main" id="{164DF3B0-8A61-6861-15B6-93CAEDB53A1B}"/>
                </a:ext>
              </a:extLst>
            </p:cNvPr>
            <p:cNvSpPr>
              <a:spLocks/>
            </p:cNvSpPr>
            <p:nvPr/>
          </p:nvSpPr>
          <p:spPr bwMode="gray">
            <a:xfrm>
              <a:off x="3357046" y="3170501"/>
              <a:ext cx="751640" cy="1566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>
              <a:spAutoFit/>
            </a:bodyPr>
            <a:lstStyle/>
            <a:p>
              <a:pPr marL="0" marR="0" lvl="0" indent="0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</a:t>
              </a:r>
            </a:p>
          </p:txBody>
        </p:sp>
      </p:grpSp>
      <p:grpSp>
        <p:nvGrpSpPr>
          <p:cNvPr id="17" name="Gruppieren 20">
            <a:extLst>
              <a:ext uri="{FF2B5EF4-FFF2-40B4-BE49-F238E27FC236}">
                <a16:creationId xmlns:a16="http://schemas.microsoft.com/office/drawing/2014/main" id="{0136CC9D-246E-1DE1-118B-31C9E59AB88D}"/>
              </a:ext>
            </a:extLst>
          </p:cNvPr>
          <p:cNvGrpSpPr>
            <a:grpSpLocks/>
          </p:cNvGrpSpPr>
          <p:nvPr/>
        </p:nvGrpSpPr>
        <p:grpSpPr bwMode="gray">
          <a:xfrm>
            <a:off x="1374241" y="3730382"/>
            <a:ext cx="2855971" cy="368457"/>
            <a:chOff x="2653333" y="4216713"/>
            <a:chExt cx="2076202" cy="267857"/>
          </a:xfrm>
        </p:grpSpPr>
        <p:cxnSp>
          <p:nvCxnSpPr>
            <p:cNvPr id="18" name="Gerade Verbindung 42">
              <a:extLst>
                <a:ext uri="{FF2B5EF4-FFF2-40B4-BE49-F238E27FC236}">
                  <a16:creationId xmlns:a16="http://schemas.microsoft.com/office/drawing/2014/main" id="{F0B7365F-FF48-F031-370A-C4AEC0C0BEA7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2653333" y="4484570"/>
              <a:ext cx="2076202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19" name="Rectangle 3">
              <a:extLst>
                <a:ext uri="{FF2B5EF4-FFF2-40B4-BE49-F238E27FC236}">
                  <a16:creationId xmlns:a16="http://schemas.microsoft.com/office/drawing/2014/main" id="{424CF40E-B3AC-44F0-9742-3980E329ED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53333" y="4216713"/>
              <a:ext cx="751640" cy="1566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>
              <a:spAutoFit/>
            </a:bodyPr>
            <a:lstStyle/>
            <a:p>
              <a:pPr marL="0" marR="0" lvl="0" indent="0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</a:t>
              </a:r>
            </a:p>
          </p:txBody>
        </p:sp>
      </p:grpSp>
      <p:grpSp>
        <p:nvGrpSpPr>
          <p:cNvPr id="20" name="Gruppieren 21">
            <a:extLst>
              <a:ext uri="{FF2B5EF4-FFF2-40B4-BE49-F238E27FC236}">
                <a16:creationId xmlns:a16="http://schemas.microsoft.com/office/drawing/2014/main" id="{5970126C-EDFA-D2C0-4277-1F4133414315}"/>
              </a:ext>
            </a:extLst>
          </p:cNvPr>
          <p:cNvGrpSpPr>
            <a:grpSpLocks/>
          </p:cNvGrpSpPr>
          <p:nvPr/>
        </p:nvGrpSpPr>
        <p:grpSpPr bwMode="gray">
          <a:xfrm>
            <a:off x="419100" y="5162573"/>
            <a:ext cx="2846558" cy="368457"/>
            <a:chOff x="1958975" y="5257871"/>
            <a:chExt cx="2069359" cy="267857"/>
          </a:xfrm>
        </p:grpSpPr>
        <p:cxnSp>
          <p:nvCxnSpPr>
            <p:cNvPr id="21" name="Gerade Verbindung 45">
              <a:extLst>
                <a:ext uri="{FF2B5EF4-FFF2-40B4-BE49-F238E27FC236}">
                  <a16:creationId xmlns:a16="http://schemas.microsoft.com/office/drawing/2014/main" id="{1A370169-92BD-626F-8DF8-DD58A17BDCE2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958976" y="5525728"/>
              <a:ext cx="2069358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2" name="Rectangle 3">
              <a:extLst>
                <a:ext uri="{FF2B5EF4-FFF2-40B4-BE49-F238E27FC236}">
                  <a16:creationId xmlns:a16="http://schemas.microsoft.com/office/drawing/2014/main" id="{9A3F7ED9-B3A0-2377-FCAD-96403118E61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58975" y="5257871"/>
              <a:ext cx="751640" cy="1566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>
              <a:spAutoFit/>
            </a:bodyPr>
            <a:lstStyle/>
            <a:p>
              <a:pPr marL="0" marR="0" lvl="0" indent="0" defTabSz="97948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Lorem ipsum</a:t>
              </a:r>
            </a:p>
          </p:txBody>
        </p:sp>
      </p:grpSp>
      <p:pic>
        <p:nvPicPr>
          <p:cNvPr id="23" name="Grafik 28">
            <a:extLst>
              <a:ext uri="{FF2B5EF4-FFF2-40B4-BE49-F238E27FC236}">
                <a16:creationId xmlns:a16="http://schemas.microsoft.com/office/drawing/2014/main" id="{A626CC2A-63C9-A29D-8CE5-5A753D4D74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419100" y="5672138"/>
            <a:ext cx="388938" cy="388938"/>
          </a:xfrm>
          <a:prstGeom prst="rect">
            <a:avLst/>
          </a:prstGeom>
        </p:spPr>
      </p:pic>
      <p:pic>
        <p:nvPicPr>
          <p:cNvPr id="24" name="Grafik 29">
            <a:extLst>
              <a:ext uri="{FF2B5EF4-FFF2-40B4-BE49-F238E27FC236}">
                <a16:creationId xmlns:a16="http://schemas.microsoft.com/office/drawing/2014/main" id="{A3FF9967-E39F-6963-D792-869D048E614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 bwMode="gray">
          <a:xfrm>
            <a:off x="11420475" y="5672138"/>
            <a:ext cx="388938" cy="388938"/>
          </a:xfrm>
          <a:prstGeom prst="rect">
            <a:avLst/>
          </a:prstGeom>
        </p:spPr>
      </p:pic>
      <p:sp>
        <p:nvSpPr>
          <p:cNvPr id="25" name="Grafik 49">
            <a:extLst>
              <a:ext uri="{FF2B5EF4-FFF2-40B4-BE49-F238E27FC236}">
                <a16:creationId xmlns:a16="http://schemas.microsoft.com/office/drawing/2014/main" id="{E54C30C4-CE6C-228B-4251-BE60A2759C44}"/>
              </a:ext>
            </a:extLst>
          </p:cNvPr>
          <p:cNvSpPr>
            <a:spLocks/>
          </p:cNvSpPr>
          <p:nvPr/>
        </p:nvSpPr>
        <p:spPr bwMode="gray">
          <a:xfrm>
            <a:off x="5189829" y="1576778"/>
            <a:ext cx="732014" cy="1082919"/>
          </a:xfrm>
          <a:custGeom>
            <a:avLst/>
            <a:gdLst>
              <a:gd name="connsiteX0" fmla="*/ 1332230 w 1332229"/>
              <a:gd name="connsiteY0" fmla="*/ 0 h 1872848"/>
              <a:gd name="connsiteX1" fmla="*/ 1332230 w 1332229"/>
              <a:gd name="connsiteY1" fmla="*/ 1872849 h 1872848"/>
              <a:gd name="connsiteX2" fmla="*/ 0 w 1332229"/>
              <a:gd name="connsiteY2" fmla="*/ 1872849 h 1872848"/>
              <a:gd name="connsiteX3" fmla="*/ 1332230 w 1332229"/>
              <a:gd name="connsiteY3" fmla="*/ 0 h 1872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2229" h="1872848">
                <a:moveTo>
                  <a:pt x="1332230" y="0"/>
                </a:moveTo>
                <a:lnTo>
                  <a:pt x="1332230" y="1872849"/>
                </a:lnTo>
                <a:lnTo>
                  <a:pt x="0" y="1872849"/>
                </a:lnTo>
                <a:lnTo>
                  <a:pt x="1332230" y="0"/>
                </a:lnTo>
                <a:close/>
              </a:path>
            </a:pathLst>
          </a:custGeom>
          <a:solidFill>
            <a:srgbClr val="FFFFFF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Grafik 49">
            <a:extLst>
              <a:ext uri="{FF2B5EF4-FFF2-40B4-BE49-F238E27FC236}">
                <a16:creationId xmlns:a16="http://schemas.microsoft.com/office/drawing/2014/main" id="{0ABFE974-15AE-42A9-605D-DFBEDD790A1E}"/>
              </a:ext>
            </a:extLst>
          </p:cNvPr>
          <p:cNvSpPr>
            <a:spLocks/>
          </p:cNvSpPr>
          <p:nvPr/>
        </p:nvSpPr>
        <p:spPr bwMode="gray">
          <a:xfrm>
            <a:off x="4230213" y="2995023"/>
            <a:ext cx="1691631" cy="1103816"/>
          </a:xfrm>
          <a:custGeom>
            <a:avLst/>
            <a:gdLst>
              <a:gd name="connsiteX0" fmla="*/ 3078684 w 3078684"/>
              <a:gd name="connsiteY0" fmla="*/ 0 h 1896809"/>
              <a:gd name="connsiteX1" fmla="*/ 3078684 w 3078684"/>
              <a:gd name="connsiteY1" fmla="*/ 1896810 h 1896809"/>
              <a:gd name="connsiteX2" fmla="*/ 0 w 3078684"/>
              <a:gd name="connsiteY2" fmla="*/ 1896810 h 1896809"/>
              <a:gd name="connsiteX3" fmla="*/ 1344210 w 3078684"/>
              <a:gd name="connsiteY3" fmla="*/ 0 h 1896809"/>
              <a:gd name="connsiteX4" fmla="*/ 3078684 w 3078684"/>
              <a:gd name="connsiteY4" fmla="*/ 0 h 189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78684" h="1896809">
                <a:moveTo>
                  <a:pt x="3078684" y="0"/>
                </a:moveTo>
                <a:lnTo>
                  <a:pt x="3078684" y="1896810"/>
                </a:lnTo>
                <a:lnTo>
                  <a:pt x="0" y="1896810"/>
                </a:lnTo>
                <a:lnTo>
                  <a:pt x="1344210" y="0"/>
                </a:lnTo>
                <a:lnTo>
                  <a:pt x="3078684" y="0"/>
                </a:ln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Grafik 49">
            <a:extLst>
              <a:ext uri="{FF2B5EF4-FFF2-40B4-BE49-F238E27FC236}">
                <a16:creationId xmlns:a16="http://schemas.microsoft.com/office/drawing/2014/main" id="{EB9C0D88-BD9B-5075-C9F8-AA618901A426}"/>
              </a:ext>
            </a:extLst>
          </p:cNvPr>
          <p:cNvSpPr>
            <a:spLocks/>
          </p:cNvSpPr>
          <p:nvPr/>
        </p:nvSpPr>
        <p:spPr bwMode="gray">
          <a:xfrm>
            <a:off x="3265658" y="4427214"/>
            <a:ext cx="2656186" cy="1103816"/>
          </a:xfrm>
          <a:custGeom>
            <a:avLst/>
            <a:gdLst>
              <a:gd name="connsiteX0" fmla="*/ 4834125 w 4834124"/>
              <a:gd name="connsiteY0" fmla="*/ 0 h 1896809"/>
              <a:gd name="connsiteX1" fmla="*/ 4834125 w 4834124"/>
              <a:gd name="connsiteY1" fmla="*/ 1896810 h 1896809"/>
              <a:gd name="connsiteX2" fmla="*/ 0 w 4834124"/>
              <a:gd name="connsiteY2" fmla="*/ 1896810 h 1896809"/>
              <a:gd name="connsiteX3" fmla="*/ 1349601 w 4834124"/>
              <a:gd name="connsiteY3" fmla="*/ 0 h 1896809"/>
              <a:gd name="connsiteX4" fmla="*/ 4834125 w 4834124"/>
              <a:gd name="connsiteY4" fmla="*/ 0 h 189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4124" h="1896809">
                <a:moveTo>
                  <a:pt x="4834125" y="0"/>
                </a:moveTo>
                <a:lnTo>
                  <a:pt x="4834125" y="1896810"/>
                </a:lnTo>
                <a:lnTo>
                  <a:pt x="0" y="1896810"/>
                </a:lnTo>
                <a:lnTo>
                  <a:pt x="1349601" y="0"/>
                </a:lnTo>
                <a:lnTo>
                  <a:pt x="4834125" y="0"/>
                </a:lnTo>
                <a:close/>
              </a:path>
            </a:pathLst>
          </a:custGeom>
          <a:solidFill>
            <a:srgbClr val="FFFFFF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Grafik 49">
            <a:extLst>
              <a:ext uri="{FF2B5EF4-FFF2-40B4-BE49-F238E27FC236}">
                <a16:creationId xmlns:a16="http://schemas.microsoft.com/office/drawing/2014/main" id="{09894098-93CF-6A61-0B10-4FEF81D0971E}"/>
              </a:ext>
            </a:extLst>
          </p:cNvPr>
          <p:cNvSpPr>
            <a:spLocks/>
          </p:cNvSpPr>
          <p:nvPr/>
        </p:nvSpPr>
        <p:spPr bwMode="gray">
          <a:xfrm rot="10800000">
            <a:off x="6306666" y="4427775"/>
            <a:ext cx="732014" cy="1089872"/>
          </a:xfrm>
          <a:custGeom>
            <a:avLst/>
            <a:gdLst>
              <a:gd name="connsiteX0" fmla="*/ 1332230 w 1332229"/>
              <a:gd name="connsiteY0" fmla="*/ 0 h 1872848"/>
              <a:gd name="connsiteX1" fmla="*/ 1332230 w 1332229"/>
              <a:gd name="connsiteY1" fmla="*/ 1872849 h 1872848"/>
              <a:gd name="connsiteX2" fmla="*/ 0 w 1332229"/>
              <a:gd name="connsiteY2" fmla="*/ 1872849 h 1872848"/>
              <a:gd name="connsiteX3" fmla="*/ 1332230 w 1332229"/>
              <a:gd name="connsiteY3" fmla="*/ 0 h 1872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2229" h="1872848">
                <a:moveTo>
                  <a:pt x="1332230" y="0"/>
                </a:moveTo>
                <a:lnTo>
                  <a:pt x="1332230" y="1872849"/>
                </a:lnTo>
                <a:lnTo>
                  <a:pt x="0" y="1872849"/>
                </a:lnTo>
                <a:lnTo>
                  <a:pt x="1332230" y="0"/>
                </a:lnTo>
                <a:close/>
              </a:path>
            </a:pathLst>
          </a:custGeom>
          <a:solidFill>
            <a:srgbClr val="FFFFFF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9" name="Grafik 49">
            <a:extLst>
              <a:ext uri="{FF2B5EF4-FFF2-40B4-BE49-F238E27FC236}">
                <a16:creationId xmlns:a16="http://schemas.microsoft.com/office/drawing/2014/main" id="{20C93C72-BD56-0962-C7DD-916481A4E735}"/>
              </a:ext>
            </a:extLst>
          </p:cNvPr>
          <p:cNvSpPr>
            <a:spLocks/>
          </p:cNvSpPr>
          <p:nvPr/>
        </p:nvSpPr>
        <p:spPr bwMode="gray">
          <a:xfrm rot="10800000">
            <a:off x="6306668" y="2995586"/>
            <a:ext cx="1691631" cy="1103816"/>
          </a:xfrm>
          <a:custGeom>
            <a:avLst/>
            <a:gdLst>
              <a:gd name="connsiteX0" fmla="*/ 3078684 w 3078684"/>
              <a:gd name="connsiteY0" fmla="*/ 0 h 1896809"/>
              <a:gd name="connsiteX1" fmla="*/ 3078684 w 3078684"/>
              <a:gd name="connsiteY1" fmla="*/ 1896810 h 1896809"/>
              <a:gd name="connsiteX2" fmla="*/ 0 w 3078684"/>
              <a:gd name="connsiteY2" fmla="*/ 1896810 h 1896809"/>
              <a:gd name="connsiteX3" fmla="*/ 1344210 w 3078684"/>
              <a:gd name="connsiteY3" fmla="*/ 0 h 1896809"/>
              <a:gd name="connsiteX4" fmla="*/ 3078684 w 3078684"/>
              <a:gd name="connsiteY4" fmla="*/ 0 h 189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78684" h="1896809">
                <a:moveTo>
                  <a:pt x="3078684" y="0"/>
                </a:moveTo>
                <a:lnTo>
                  <a:pt x="3078684" y="1896810"/>
                </a:lnTo>
                <a:lnTo>
                  <a:pt x="0" y="1896810"/>
                </a:lnTo>
                <a:lnTo>
                  <a:pt x="1344210" y="0"/>
                </a:lnTo>
                <a:lnTo>
                  <a:pt x="3078684" y="0"/>
                </a:lnTo>
                <a:close/>
              </a:path>
            </a:pathLst>
          </a:custGeom>
          <a:solidFill>
            <a:schemeClr val="bg2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0" name="Grafik 49">
            <a:extLst>
              <a:ext uri="{FF2B5EF4-FFF2-40B4-BE49-F238E27FC236}">
                <a16:creationId xmlns:a16="http://schemas.microsoft.com/office/drawing/2014/main" id="{BA157AE4-FA61-1C0E-CF19-D5DE770D2155}"/>
              </a:ext>
            </a:extLst>
          </p:cNvPr>
          <p:cNvSpPr>
            <a:spLocks/>
          </p:cNvSpPr>
          <p:nvPr/>
        </p:nvSpPr>
        <p:spPr bwMode="gray">
          <a:xfrm rot="10800000">
            <a:off x="6306668" y="1563395"/>
            <a:ext cx="2656186" cy="1096302"/>
          </a:xfrm>
          <a:custGeom>
            <a:avLst/>
            <a:gdLst>
              <a:gd name="connsiteX0" fmla="*/ 4834125 w 4834124"/>
              <a:gd name="connsiteY0" fmla="*/ 0 h 1896809"/>
              <a:gd name="connsiteX1" fmla="*/ 4834125 w 4834124"/>
              <a:gd name="connsiteY1" fmla="*/ 1896810 h 1896809"/>
              <a:gd name="connsiteX2" fmla="*/ 0 w 4834124"/>
              <a:gd name="connsiteY2" fmla="*/ 1896810 h 1896809"/>
              <a:gd name="connsiteX3" fmla="*/ 1349601 w 4834124"/>
              <a:gd name="connsiteY3" fmla="*/ 0 h 1896809"/>
              <a:gd name="connsiteX4" fmla="*/ 4834125 w 4834124"/>
              <a:gd name="connsiteY4" fmla="*/ 0 h 189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4124" h="1896809">
                <a:moveTo>
                  <a:pt x="4834125" y="0"/>
                </a:moveTo>
                <a:lnTo>
                  <a:pt x="4834125" y="1896810"/>
                </a:lnTo>
                <a:lnTo>
                  <a:pt x="0" y="1896810"/>
                </a:lnTo>
                <a:lnTo>
                  <a:pt x="1349601" y="0"/>
                </a:lnTo>
                <a:lnTo>
                  <a:pt x="4834125" y="0"/>
                </a:lnTo>
                <a:close/>
              </a:path>
            </a:pathLst>
          </a:custGeom>
          <a:solidFill>
            <a:srgbClr val="FFFFFF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AAD6B36B-27AA-5B8C-66C7-9BFA439332A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9164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, con</a:t>
            </a:r>
          </a:p>
        </p:txBody>
      </p:sp>
    </p:spTree>
    <p:extLst>
      <p:ext uri="{BB962C8B-B14F-4D97-AF65-F5344CB8AC3E}">
        <p14:creationId xmlns:p14="http://schemas.microsoft.com/office/powerpoint/2010/main" val="3461075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